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1"/>
  </p:sldMasterIdLst>
  <p:notesMasterIdLst>
    <p:notesMasterId r:id="rId7"/>
  </p:notesMasterIdLst>
  <p:handoutMasterIdLst>
    <p:handoutMasterId r:id="rId8"/>
  </p:handoutMasterIdLst>
  <p:sldIdLst>
    <p:sldId id="284" r:id="rId2"/>
    <p:sldId id="285" r:id="rId3"/>
    <p:sldId id="290" r:id="rId4"/>
    <p:sldId id="269" r:id="rId5"/>
    <p:sldId id="291" r:id="rId6"/>
  </p:sldIdLst>
  <p:sldSz cx="12192000" cy="6858000"/>
  <p:notesSz cx="6858000" cy="9144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5EC"/>
    <a:srgbClr val="C8D7E0"/>
    <a:srgbClr val="85ACB9"/>
    <a:srgbClr val="548D9E"/>
    <a:srgbClr val="E8EBF1"/>
    <a:srgbClr val="FFFFFF"/>
    <a:srgbClr val="ABC4CF"/>
    <a:srgbClr val="F8F8F8"/>
    <a:srgbClr val="408BF3"/>
    <a:srgbClr val="035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19E1CD5-9D16-45DA-8535-5D202E39A6AF}" v="165" dt="2023-01-07T21:11:05.606"/>
  </p1510:revLst>
</p1510:revInfo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6" autoAdjust="0"/>
    <p:restoredTop sz="96056" autoAdjust="0"/>
  </p:normalViewPr>
  <p:slideViewPr>
    <p:cSldViewPr snapToGrid="0">
      <p:cViewPr varScale="1">
        <p:scale>
          <a:sx n="111" d="100"/>
          <a:sy n="111" d="100"/>
        </p:scale>
        <p:origin x="480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391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06.02.2023</a:t>
            </a:fld>
            <a:endParaRPr lang="de-DE" dirty="0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Nr.›</a:t>
            </a:fld>
            <a:endParaRPr lang="de-DE" dirty="0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06.02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02951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3449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3.pn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Full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E0EF039-EC0F-446F-B82A-2FB6C817C8A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57226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600"/>
              </a:spcAft>
              <a:buNone/>
              <a:defRPr/>
            </a:lvl1pPr>
          </a:lstStyle>
          <a:p>
            <a:r>
              <a:rPr lang="de-DE" noProof="0" dirty="0"/>
              <a:t> </a:t>
            </a:r>
          </a:p>
        </p:txBody>
      </p:sp>
      <p:sp>
        <p:nvSpPr>
          <p:cNvPr id="18" name="SmartArt-Platzhalter 4">
            <a:extLst>
              <a:ext uri="{FF2B5EF4-FFF2-40B4-BE49-F238E27FC236}">
                <a16:creationId xmlns:a16="http://schemas.microsoft.com/office/drawing/2014/main" id="{FCCF42BF-D9E0-4820-BABA-DAF1A43D227B}"/>
              </a:ext>
            </a:extLst>
          </p:cNvPr>
          <p:cNvSpPr>
            <a:spLocks noGrp="1" noChangeAspect="1"/>
          </p:cNvSpPr>
          <p:nvPr>
            <p:ph type="dgm" sz="quarter" idx="23" hasCustomPrompt="1"/>
          </p:nvPr>
        </p:nvSpPr>
        <p:spPr>
          <a:xfrm>
            <a:off x="9947294" y="572400"/>
            <a:ext cx="1672306" cy="5724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701C665-C272-490E-8A21-0107CBA54E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9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701C665-C272-490E-8A21-0107CBA54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88DEDB73-663D-4E69-BA2A-A35D3F0824E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537701" y="5887328"/>
            <a:ext cx="2654300" cy="419100"/>
          </a:xfrm>
          <a:custGeom>
            <a:avLst/>
            <a:gdLst>
              <a:gd name="connsiteX0" fmla="*/ 262299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  <a:gd name="connsiteX0" fmla="*/ 203807 w 1762125"/>
              <a:gd name="connsiteY0" fmla="*/ 0 h 363401"/>
              <a:gd name="connsiteX1" fmla="*/ 1762125 w 1762125"/>
              <a:gd name="connsiteY1" fmla="*/ 0 h 363401"/>
              <a:gd name="connsiteX2" fmla="*/ 1762125 w 1762125"/>
              <a:gd name="connsiteY2" fmla="*/ 363401 h 363401"/>
              <a:gd name="connsiteX3" fmla="*/ 0 w 1762125"/>
              <a:gd name="connsiteY3" fmla="*/ 363401 h 363401"/>
              <a:gd name="connsiteX4" fmla="*/ 203807 w 1762125"/>
              <a:gd name="connsiteY4" fmla="*/ 0 h 363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363401">
                <a:moveTo>
                  <a:pt x="203807" y="0"/>
                </a:moveTo>
                <a:lnTo>
                  <a:pt x="1762125" y="0"/>
                </a:lnTo>
                <a:lnTo>
                  <a:pt x="1762125" y="363401"/>
                </a:lnTo>
                <a:lnTo>
                  <a:pt x="0" y="363401"/>
                </a:lnTo>
                <a:lnTo>
                  <a:pt x="203807" y="0"/>
                </a:lnTo>
                <a:close/>
              </a:path>
            </a:pathLst>
          </a:custGeom>
          <a:solidFill>
            <a:schemeClr val="tx2"/>
          </a:solidFill>
          <a:ln w="19050">
            <a:noFill/>
            <a:miter lim="800000"/>
          </a:ln>
          <a:effectLst>
            <a:outerShdw dist="25400" dir="14400000" algn="b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432054" tIns="72000" rIns="504000" bIns="72000" rtlCol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lang="de-DE" sz="1800" dirty="0">
                <a:solidFill>
                  <a:schemeClr val="bg1"/>
                </a:solidFill>
              </a:defRPr>
            </a:lvl1pPr>
          </a:lstStyle>
          <a:p>
            <a:pPr marL="0" lvl="0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3837978"/>
            <a:ext cx="12192000" cy="1376513"/>
          </a:xfrm>
          <a:noFill/>
        </p:spPr>
        <p:txBody>
          <a:bodyPr vert="horz" wrap="square" lIns="572400" tIns="72000" rIns="572400" bIns="72000" anchor="b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presentation title, two lines maximum.</a:t>
            </a:r>
            <a:br>
              <a:rPr lang="en-US" noProof="0" dirty="0"/>
            </a:br>
            <a:r>
              <a:rPr lang="en-US" noProof="0" dirty="0"/>
              <a:t>text can be moved vertically.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311365"/>
            <a:ext cx="12192000" cy="453183"/>
          </a:xfrm>
          <a:prstGeom prst="rect">
            <a:avLst/>
          </a:prstGeom>
          <a:noFill/>
        </p:spPr>
        <p:txBody>
          <a:bodyPr wrap="square" lIns="572400" tIns="72000" rIns="572400" bIns="72000">
            <a:spAutoFit/>
          </a:bodyPr>
          <a:lstStyle>
            <a:lvl1pPr marL="0" indent="0" algn="l" rtl="0">
              <a:lnSpc>
                <a:spcPct val="100000"/>
              </a:lnSpc>
              <a:spcAft>
                <a:spcPts val="0"/>
              </a:spcAft>
              <a:buNone/>
              <a:defRPr sz="20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 err="1"/>
              <a:t>SubTitle</a:t>
            </a:r>
            <a:r>
              <a:rPr lang="de-DE" noProof="0" dirty="0"/>
              <a:t>,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</a:t>
            </a:r>
            <a:r>
              <a:rPr lang="en-US" noProof="0" dirty="0"/>
              <a:t>maximum</a:t>
            </a:r>
            <a:r>
              <a:rPr lang="de-DE" noProof="0" dirty="0"/>
              <a:t>.</a:t>
            </a:r>
          </a:p>
        </p:txBody>
      </p:sp>
      <p:sp>
        <p:nvSpPr>
          <p:cNvPr id="17" name="SmartArt-Platzhalter 6">
            <a:extLst>
              <a:ext uri="{FF2B5EF4-FFF2-40B4-BE49-F238E27FC236}">
                <a16:creationId xmlns:a16="http://schemas.microsoft.com/office/drawing/2014/main" id="{BEF5298C-10DE-4459-A25C-6BF3ABC562A5}"/>
              </a:ext>
            </a:extLst>
          </p:cNvPr>
          <p:cNvSpPr>
            <a:spLocks noGrp="1" noChangeAspect="1"/>
          </p:cNvSpPr>
          <p:nvPr>
            <p:ph type="dgm" sz="quarter" idx="24" hasCustomPrompt="1"/>
          </p:nvPr>
        </p:nvSpPr>
        <p:spPr>
          <a:xfrm>
            <a:off x="572400" y="572399"/>
            <a:ext cx="1099906" cy="5724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8B21A6-8453-43A9-BD65-C40990DB6E0F}"/>
              </a:ext>
            </a:extLst>
          </p:cNvPr>
          <p:cNvSpPr/>
          <p:nvPr userDrawn="1"/>
        </p:nvSpPr>
        <p:spPr bwMode="white">
          <a:xfrm>
            <a:off x="11001080" y="6608189"/>
            <a:ext cx="1190920" cy="2498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9" userDrawn="1">
          <p15:clr>
            <a:srgbClr val="FBAE40"/>
          </p15:clr>
        </p15:guide>
        <p15:guide id="2" pos="7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873D050-8C41-4684-9B1D-81971AB5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56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873D050-8C41-4684-9B1D-81971AB5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BA9CD6AC-9C73-4D8F-9F5C-1CF35772BD3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317288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4EA6A0CB-E01D-4647-9CEB-66AA9684281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6" y="1413933"/>
            <a:ext cx="5396342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880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711" userDrawn="1">
          <p15:clr>
            <a:srgbClr val="FBAE40"/>
          </p15:clr>
        </p15:guide>
        <p15:guide id="6" pos="397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54160-9C46-4866-882D-50B5C096B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61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54160-9C46-4866-882D-50B5C096B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Inhaltsplatzhalter 3">
            <a:extLst>
              <a:ext uri="{FF2B5EF4-FFF2-40B4-BE49-F238E27FC236}">
                <a16:creationId xmlns:a16="http://schemas.microsoft.com/office/drawing/2014/main" id="{3988BB4E-F1CA-4BC0-993D-C218662BA85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16069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0D7FB171-0CB4-4740-8625-DD15BF1FF8D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51462A60-9CA1-461B-A29A-E91D63B6095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359756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6050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7" userDrawn="1">
          <p15:clr>
            <a:srgbClr val="FBAE40"/>
          </p15:clr>
        </p15:guide>
        <p15:guide id="4" pos="4978" userDrawn="1">
          <p15:clr>
            <a:srgbClr val="FBAE40"/>
          </p15:clr>
        </p15:guide>
        <p15:guide id="5" pos="2710" userDrawn="1">
          <p15:clr>
            <a:srgbClr val="FBAE40"/>
          </p15:clr>
        </p15:guide>
        <p15:guide id="6" pos="5111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2CC6E-EDA2-4F9E-A09B-A2E54AB188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10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2CC6E-EDA2-4F9E-A09B-A2E54AB188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Inhaltsplatzhalter 4">
            <a:extLst>
              <a:ext uri="{FF2B5EF4-FFF2-40B4-BE49-F238E27FC236}">
                <a16:creationId xmlns:a16="http://schemas.microsoft.com/office/drawing/2014/main" id="{8BA2F5EE-5EBD-4514-8AF6-B05EC345392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69460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2" name="Inhaltsplatzhalter 3">
            <a:extLst>
              <a:ext uri="{FF2B5EF4-FFF2-40B4-BE49-F238E27FC236}">
                <a16:creationId xmlns:a16="http://schemas.microsoft.com/office/drawing/2014/main" id="{60EC06ED-6F07-4680-9AE2-23D7698B36D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09289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027E4EC2-9005-40D4-918C-FD11293AE4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49118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8" name="Inhaltsplatzhalter 1">
            <a:extLst>
              <a:ext uri="{FF2B5EF4-FFF2-40B4-BE49-F238E27FC236}">
                <a16:creationId xmlns:a16="http://schemas.microsoft.com/office/drawing/2014/main" id="{CD857AE5-6C50-432B-94B7-EC5D4821331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264417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634068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5705" userDrawn="1">
          <p15:clr>
            <a:srgbClr val="FBAE40"/>
          </p15:clr>
        </p15:guide>
        <p15:guide id="7" pos="1977" userDrawn="1">
          <p15:clr>
            <a:srgbClr val="FBAE40"/>
          </p15:clr>
        </p15:guide>
        <p15:guide id="8" pos="2104" userDrawn="1">
          <p15:clr>
            <a:srgbClr val="FBAE40"/>
          </p15:clr>
        </p15:guide>
        <p15:guide id="9" pos="3777" userDrawn="1">
          <p15:clr>
            <a:srgbClr val="FBAE40"/>
          </p15:clr>
        </p15:guide>
        <p15:guide id="10" pos="3905" userDrawn="1">
          <p15:clr>
            <a:srgbClr val="FBAE40"/>
          </p15:clr>
        </p15:guide>
        <p15:guide id="11" pos="5576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D39B1E-A015-4084-940D-8BBABCAAC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2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D39B1E-A015-4084-940D-8BBABCAA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317289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488947" y="3968784"/>
            <a:ext cx="5396342" cy="233994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6317289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2"/>
            <a:ext cx="5396342" cy="233885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97895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711" userDrawn="1">
          <p15:clr>
            <a:srgbClr val="FBAE40"/>
          </p15:clr>
        </p15:guide>
        <p15:guide id="14" pos="3977" userDrawn="1">
          <p15:clr>
            <a:srgbClr val="FBAE40"/>
          </p15:clr>
        </p15:guide>
        <p15:guide id="15" orient="horz" pos="2365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4C7F330-3D64-4FB0-93F8-C1BA49AFA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3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4C7F330-3D64-4FB0-93F8-C1BA49AF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tabLst>
                <a:tab pos="4927600" algn="l"/>
              </a:tabLs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DF2DED3-0602-4827-AE5B-D7DA542659F4}"/>
              </a:ext>
            </a:extLst>
          </p:cNvPr>
          <p:cNvSpPr>
            <a:spLocks/>
          </p:cNvSpPr>
          <p:nvPr userDrawn="1"/>
        </p:nvSpPr>
        <p:spPr>
          <a:xfrm>
            <a:off x="0" y="1244598"/>
            <a:ext cx="12192000" cy="5326065"/>
          </a:xfrm>
          <a:prstGeom prst="rect">
            <a:avLst/>
          </a:prstGeom>
          <a:gradFill>
            <a:gsLst>
              <a:gs pos="1000">
                <a:schemeClr val="accent4"/>
              </a:gs>
              <a:gs pos="100000">
                <a:schemeClr val="accent6"/>
              </a:gs>
            </a:gsLst>
            <a:lin ang="5400000" scaled="0"/>
          </a:gradFill>
        </p:spPr>
        <p:txBody>
          <a:bodyPr vert="horz" lIns="0" tIns="0" rIns="0" bIns="720000" rtlCol="0" anchor="ctr" anchorCtr="0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88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2FD9A65-9362-4228-B368-164FA84D1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25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2FD9A65-9362-4228-B368-164FA84D1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6316130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4" name="Bildplatzhalter 1">
            <a:extLst>
              <a:ext uri="{FF2B5EF4-FFF2-40B4-BE49-F238E27FC236}">
                <a16:creationId xmlns:a16="http://schemas.microsoft.com/office/drawing/2014/main" id="{5730C142-F37E-4F0E-997D-1B4882F0DF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62744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13" userDrawn="1">
          <p15:clr>
            <a:srgbClr val="FBAE40"/>
          </p15:clr>
        </p15:guide>
        <p15:guide id="12" pos="396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B85CB-7648-45C2-8AA4-9F501EFD0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7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B85CB-7648-45C2-8AA4-9F501EFD0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1"/>
          <p:cNvSpPr>
            <a:spLocks noGrp="1"/>
          </p:cNvSpPr>
          <p:nvPr>
            <p:ph sz="quarter" idx="10" hasCustomPrompt="1"/>
          </p:nvPr>
        </p:nvSpPr>
        <p:spPr>
          <a:xfrm>
            <a:off x="488947" y="1413933"/>
            <a:ext cx="5397501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5FB2A3B7-A796-4B19-828B-216A63DF68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05553" y="1413933"/>
            <a:ext cx="5886447" cy="4894792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0396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3713">
          <p15:clr>
            <a:srgbClr val="FBAE40"/>
          </p15:clr>
        </p15:guide>
        <p15:guide id="10" pos="396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CEF4E8-D1ED-4741-8EA5-2F059DE1A8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1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CEF4E8-D1ED-4741-8EA5-2F059DE1A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2">
            <a:extLst>
              <a:ext uri="{FF2B5EF4-FFF2-40B4-BE49-F238E27FC236}">
                <a16:creationId xmlns:a16="http://schemas.microsoft.com/office/drawing/2014/main" id="{21DD1C87-BB96-419F-854D-07AA4BC5BB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7289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7" name="Bildplatzhalter 1">
            <a:extLst>
              <a:ext uri="{FF2B5EF4-FFF2-40B4-BE49-F238E27FC236}">
                <a16:creationId xmlns:a16="http://schemas.microsoft.com/office/drawing/2014/main" id="{002A9939-48F2-4545-B99B-4FBDD4F466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8947" y="1413933"/>
            <a:ext cx="5396342" cy="2338866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21A07BCC-CBB3-45C5-871C-CEC015A95C5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968797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4842ABB0-6221-4430-AD7F-233AE6B84AB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16130" y="3968798"/>
            <a:ext cx="5397501" cy="2339927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2578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3977" userDrawn="1">
          <p15:clr>
            <a:srgbClr val="FBAE40"/>
          </p15:clr>
        </p15:guide>
        <p15:guide id="14" pos="3713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59CFA-1435-478E-96A7-9D9FDB54C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1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59CFA-1435-478E-96A7-9D9FDB54C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C1CC7D62-9893-4BEA-8A91-B49BF94C361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16069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8F13227-C5D1-4782-B063-BEEC402A95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02508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9" name="Bildplatzhalter 1">
            <a:extLst>
              <a:ext uri="{FF2B5EF4-FFF2-40B4-BE49-F238E27FC236}">
                <a16:creationId xmlns:a16="http://schemas.microsoft.com/office/drawing/2014/main" id="{8E88005D-BECE-427C-8BF8-4FB5D6607A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8947" y="1413933"/>
            <a:ext cx="3597561" cy="2246089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F618BC1E-BA4B-4C2D-9055-151550F257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39749FF8-9C62-429D-B248-147D3882DD4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02508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0B2A38E1-027A-4A9E-9C3E-5F354A4A6AD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16069" y="3876023"/>
            <a:ext cx="3597561" cy="243270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1464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3" pos="2577" userDrawn="1">
          <p15:clr>
            <a:srgbClr val="FBAE40"/>
          </p15:clr>
        </p15:guide>
        <p15:guide id="14" pos="2710" userDrawn="1">
          <p15:clr>
            <a:srgbClr val="FBAE40"/>
          </p15:clr>
        </p15:guide>
        <p15:guide id="15" pos="4978" userDrawn="1">
          <p15:clr>
            <a:srgbClr val="FBAE40"/>
          </p15:clr>
        </p15:guide>
        <p15:guide id="16" pos="511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1DD4F3-1611-4813-B014-B6F6B1F774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404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1DD4F3-1611-4813-B014-B6F6B1F77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EA143C20-52BF-4891-994E-588F799371B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69460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9B1A1B6B-6B2F-4D5A-91A8-C5161E45AB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9289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73F01E6-A077-4F39-A94E-9EFE54D2E4E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118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11" name="Bildplatzhalter 1">
            <a:extLst>
              <a:ext uri="{FF2B5EF4-FFF2-40B4-BE49-F238E27FC236}">
                <a16:creationId xmlns:a16="http://schemas.microsoft.com/office/drawing/2014/main" id="{320CFD8C-6A4A-4FAB-822D-054B82DCFD4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8947" y="1413934"/>
            <a:ext cx="2644171" cy="2246091"/>
          </a:xfrm>
          <a:pattFill prst="dkUpDiag">
            <a:fgClr>
              <a:schemeClr val="accent1"/>
            </a:fgClr>
            <a:bgClr>
              <a:schemeClr val="bg1"/>
            </a:bgClr>
          </a:pattFill>
        </p:spPr>
        <p:txBody>
          <a:bodyPr bIns="720000"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19" name="Inhaltsplatzhalter 1">
            <a:extLst>
              <a:ext uri="{FF2B5EF4-FFF2-40B4-BE49-F238E27FC236}">
                <a16:creationId xmlns:a16="http://schemas.microsoft.com/office/drawing/2014/main" id="{6CE7BB11-9C21-456E-83D7-62B9D458E21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8947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27E42A5D-C99D-4B3C-99B7-053CF69A119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9118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7DCDE22D-7C60-4E83-A6E8-C458BFB9DF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209289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BC839F12-6E68-4D1C-B187-9307DD85F162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069460" y="3876025"/>
            <a:ext cx="2644171" cy="2432700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29604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pos="1977" userDrawn="1">
          <p15:clr>
            <a:srgbClr val="FBAE40"/>
          </p15:clr>
        </p15:guide>
        <p15:guide id="16" pos="2104" userDrawn="1">
          <p15:clr>
            <a:srgbClr val="FBAE40"/>
          </p15:clr>
        </p15:guide>
        <p15:guide id="17" pos="3911" userDrawn="1">
          <p15:clr>
            <a:srgbClr val="FBAE40"/>
          </p15:clr>
        </p15:guide>
        <p15:guide id="18" pos="3777" userDrawn="1">
          <p15:clr>
            <a:srgbClr val="FBAE40"/>
          </p15:clr>
        </p15:guide>
        <p15:guide id="19" pos="5711" userDrawn="1">
          <p15:clr>
            <a:srgbClr val="FBAE40"/>
          </p15:clr>
        </p15:guide>
        <p15:guide id="20" pos="557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Half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5BEF2A-9A1E-4EAC-B0F5-2DDB471F42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4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5BEF2A-9A1E-4EAC-B0F5-2DDB471F42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6B223D4-141A-4CF8-A0E8-2BDBE75FE8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22302"/>
            <a:ext cx="6369154" cy="1144352"/>
          </a:xfrm>
        </p:spPr>
        <p:txBody>
          <a:bodyPr wrap="square" lIns="0" tIns="0" rIns="0" bIns="0">
            <a:spAutoFit/>
          </a:bodyPr>
          <a:lstStyle>
            <a:lvl1pPr marL="0" indent="0" rtl="0">
              <a:lnSpc>
                <a:spcPct val="100000"/>
              </a:lnSpc>
              <a:buFontTx/>
              <a:buNone/>
              <a:defRPr sz="7200"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noProof="0" dirty="0"/>
              <a:t>A1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9518E7B-00FD-45A8-91EB-08EBB2BB7F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343270" y="1"/>
            <a:ext cx="4848730" cy="6570481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808" y="2565951"/>
            <a:ext cx="6374130" cy="184665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 algn="l" rtl="0">
              <a:lnSpc>
                <a:spcPct val="100000"/>
              </a:lnSpc>
              <a:spcAft>
                <a:spcPts val="0"/>
              </a:spcAft>
              <a:defRPr sz="4000" b="0" cap="all" baseline="0">
                <a:solidFill>
                  <a:schemeClr val="tx1"/>
                </a:solidFill>
              </a:defRPr>
            </a:lvl1pPr>
          </a:lstStyle>
          <a:p>
            <a:r>
              <a:rPr lang="de-DE" noProof="0" dirty="0" err="1"/>
              <a:t>Divider</a:t>
            </a:r>
            <a:r>
              <a:rPr lang="de-DE" noProof="0" dirty="0"/>
              <a:t>.</a:t>
            </a:r>
            <a:br>
              <a:rPr lang="de-DE" noProof="0" dirty="0"/>
            </a:br>
            <a:r>
              <a:rPr lang="de-DE" noProof="0" dirty="0" err="1"/>
              <a:t>Coloured</a:t>
            </a:r>
            <a:r>
              <a:rPr lang="de-DE" noProof="0" dirty="0"/>
              <a:t> Area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br>
              <a:rPr lang="de-DE" noProof="0" dirty="0"/>
            </a:br>
            <a:r>
              <a:rPr lang="de-DE" noProof="0" dirty="0"/>
              <a:t>Picture o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right</a:t>
            </a:r>
            <a:r>
              <a:rPr lang="de-DE" noProof="0" dirty="0"/>
              <a:t>.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AA15957-F104-4C22-9120-BDAC25194BE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6642" y="347185"/>
            <a:ext cx="1706989" cy="901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4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183DF9-0121-47E6-9B72-30EF7AB86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7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183DF9-0121-47E6-9B72-30EF7AB86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570482"/>
          </a:xfrm>
          <a:gradFill>
            <a:gsLst>
              <a:gs pos="1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0"/>
          </a:gradFill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de-DE" noProof="0"/>
            </a:lvl1pPr>
          </a:lstStyle>
          <a:p>
            <a:pPr marL="0" lvl="0" indent="0">
              <a:buNone/>
            </a:pPr>
            <a:r>
              <a:rPr lang="de-DE" noProof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412875"/>
            <a:ext cx="12202578" cy="1449216"/>
          </a:xfrm>
          <a:noFill/>
        </p:spPr>
        <p:txBody>
          <a:bodyPr vert="horz" lIns="572400" tIns="108000" rIns="572400" bIns="108000"/>
          <a:lstStyle>
            <a:lvl1pPr algn="l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Key Note </a:t>
            </a:r>
            <a:r>
              <a:rPr lang="de-DE" noProof="0" dirty="0" err="1"/>
              <a:t>slide</a:t>
            </a:r>
            <a:r>
              <a:rPr lang="de-DE" noProof="0" dirty="0"/>
              <a:t> </a:t>
            </a:r>
            <a:r>
              <a:rPr lang="de-DE" noProof="0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without</a:t>
            </a:r>
            <a:r>
              <a:rPr lang="de-DE" noProof="0" dirty="0"/>
              <a:t> Picture. </a:t>
            </a:r>
            <a:br>
              <a:rPr lang="de-DE" noProof="0" dirty="0"/>
            </a:br>
            <a:r>
              <a:rPr lang="de-DE" noProof="0" dirty="0"/>
              <a:t>(Short!) Text </a:t>
            </a:r>
            <a:r>
              <a:rPr lang="de-DE" noProof="0" dirty="0" err="1"/>
              <a:t>can</a:t>
            </a:r>
            <a:r>
              <a:rPr lang="de-DE" noProof="0" dirty="0"/>
              <a:t> </a:t>
            </a:r>
            <a:r>
              <a:rPr lang="de-DE" noProof="0" dirty="0" err="1"/>
              <a:t>be</a:t>
            </a:r>
            <a:r>
              <a:rPr lang="de-DE" noProof="0" dirty="0"/>
              <a:t> </a:t>
            </a:r>
            <a:r>
              <a:rPr lang="de-DE" noProof="0" dirty="0" err="1"/>
              <a:t>moved</a:t>
            </a:r>
            <a:r>
              <a:rPr lang="de-DE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8400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6">
            <a:extLst>
              <a:ext uri="{FF2B5EF4-FFF2-40B4-BE49-F238E27FC236}">
                <a16:creationId xmlns:a16="http://schemas.microsoft.com/office/drawing/2014/main" id="{A090A392-5D86-46CB-AB83-2F4680F4A48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8369" y="1440610"/>
            <a:ext cx="11235262" cy="4868115"/>
          </a:xfrm>
          <a:gradFill>
            <a:gsLst>
              <a:gs pos="1000">
                <a:schemeClr val="tx2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lvl1pPr marL="0" indent="0" rtl="0">
              <a:lnSpc>
                <a:spcPct val="100000"/>
              </a:lnSpc>
              <a:buNone/>
              <a:defRPr lang="en-GB">
                <a:latin typeface="BMWGroupTN Condensed" pitchFamily="50" charset="0"/>
              </a:defRPr>
            </a:lvl1pPr>
          </a:lstStyle>
          <a:p>
            <a:pPr marL="0" lvl="0"/>
            <a:r>
              <a:rPr lang="de-DE" noProof="0" dirty="0"/>
              <a:t> </a:t>
            </a: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6B7B026-5292-4386-A783-313A3F9751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8369" y="1440610"/>
            <a:ext cx="11235262" cy="4868115"/>
          </a:xfrm>
          <a:noFill/>
        </p:spPr>
        <p:txBody>
          <a:bodyPr lIns="360000" tIns="306000" rIns="180000" bIns="144000"/>
          <a:lstStyle>
            <a:lvl1pPr marL="538163" indent="-538163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2400" spc="10" baseline="0">
                <a:solidFill>
                  <a:schemeClr val="bg1"/>
                </a:solidFill>
                <a:latin typeface="+mj-lt"/>
              </a:defRPr>
            </a:lvl1pPr>
            <a:lvl2pPr marL="995362" indent="-457200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2400" spc="10" baseline="0">
                <a:solidFill>
                  <a:schemeClr val="bg1"/>
                </a:solidFill>
                <a:latin typeface="+mj-lt"/>
              </a:defRPr>
            </a:lvl2pPr>
            <a:lvl3pPr marL="1612900" indent="-536575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2400" spc="10" baseline="0">
                <a:solidFill>
                  <a:schemeClr val="bg1"/>
                </a:solidFill>
                <a:latin typeface="+mj-lt"/>
              </a:defRPr>
            </a:lvl3pPr>
            <a:lvl4pPr marL="2151063" indent="-538163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2400" spc="10" baseline="0">
                <a:solidFill>
                  <a:schemeClr val="bg1"/>
                </a:solidFill>
                <a:latin typeface="+mj-lt"/>
              </a:defRPr>
            </a:lvl4pPr>
            <a:lvl5pPr marL="2689225" indent="-538163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2400" spc="10" baseline="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304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Grid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EE7053F-DB9B-44B2-AD0F-3AB1F6CB57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1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EE7053F-DB9B-44B2-AD0F-3AB1F6CB5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0750706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68A48D-FC8F-4A69-A7C6-8F5625DC62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7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68A48D-FC8F-4A69-A7C6-8F5625DC6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6532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3704" userDrawn="1">
          <p15:clr>
            <a:srgbClr val="FBAE40"/>
          </p15:clr>
        </p15:guide>
        <p15:guide id="12" pos="397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5D995C9-90CA-4EE8-9DD8-83F674139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5D995C9-90CA-4EE8-9DD8-83F674139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3628" cy="40011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314166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0">
          <p15:clr>
            <a:srgbClr val="FBAE40"/>
          </p15:clr>
        </p15:guide>
        <p15:guide id="2" pos="2712">
          <p15:clr>
            <a:srgbClr val="FBAE40"/>
          </p15:clr>
        </p15:guide>
        <p15:guide id="3" pos="5118">
          <p15:clr>
            <a:srgbClr val="FBAE40"/>
          </p15:clr>
        </p15:guide>
        <p15:guide id="4" pos="49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87CDE6-4D31-464C-B238-7EB6F6DBD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1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87CDE6-4D31-464C-B238-7EB6F6DBD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Aft>
                <a:spcPts val="600"/>
              </a:spcAft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366885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  <p15:guide id="2" pos="2111">
          <p15:clr>
            <a:srgbClr val="FBAE40"/>
          </p15:clr>
        </p15:guide>
        <p15:guide id="3" pos="3771">
          <p15:clr>
            <a:srgbClr val="FBAE40"/>
          </p15:clr>
        </p15:guide>
        <p15:guide id="4" pos="3915">
          <p15:clr>
            <a:srgbClr val="FBAE40"/>
          </p15:clr>
        </p15:guide>
        <p15:guide id="5" pos="5576">
          <p15:clr>
            <a:srgbClr val="FBAE40"/>
          </p15:clr>
        </p15:guide>
        <p15:guide id="6" pos="57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 |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5645238-9DEC-4A72-9BA1-F517092F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23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5645238-9DEC-4A72-9BA1-F517092F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268930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4" userDrawn="1">
          <p15:clr>
            <a:srgbClr val="FBAE40"/>
          </p15:clr>
        </p15:guide>
        <p15:guide id="15" pos="3976" userDrawn="1">
          <p15:clr>
            <a:srgbClr val="FBAE40"/>
          </p15:clr>
        </p15:guide>
        <p15:guide id="16" orient="horz" pos="2500" userDrawn="1">
          <p15:clr>
            <a:srgbClr val="FBAE40"/>
          </p15:clr>
        </p15:guide>
        <p15:guide id="17" orient="horz" pos="236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1CCC0F5-E43D-4616-B7C4-E058ADB68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72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1CCC0F5-E43D-4616-B7C4-E058ADB68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D9028297-F8A3-40B3-AA36-477ABB38F3E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88947" y="1413933"/>
            <a:ext cx="11224684" cy="4894792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r>
              <a:rPr lang="de-DE" noProof="0" dirty="0"/>
              <a:t>.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content</a:t>
            </a:r>
            <a:r>
              <a:rPr lang="de-DE" noProof="0" dirty="0"/>
              <a:t> like a </a:t>
            </a:r>
            <a:r>
              <a:rPr lang="de-DE" noProof="0" dirty="0" err="1"/>
              <a:t>table</a:t>
            </a:r>
            <a:r>
              <a:rPr lang="de-DE" noProof="0" dirty="0"/>
              <a:t> </a:t>
            </a:r>
            <a:r>
              <a:rPr lang="de-DE" noProof="0" dirty="0" err="1"/>
              <a:t>or</a:t>
            </a:r>
            <a:r>
              <a:rPr lang="de-DE" noProof="0" dirty="0"/>
              <a:t> </a:t>
            </a:r>
            <a:r>
              <a:rPr lang="de-DE" noProof="0" dirty="0" err="1"/>
              <a:t>diagram</a:t>
            </a:r>
            <a:r>
              <a:rPr lang="de-DE" noProof="0" dirty="0"/>
              <a:t> just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icon</a:t>
            </a:r>
            <a:r>
              <a:rPr lang="de-DE" noProof="0" dirty="0"/>
              <a:t> in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middl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placeholder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7" y="347184"/>
            <a:ext cx="11224684" cy="400110"/>
          </a:xfrm>
        </p:spPr>
        <p:txBody>
          <a:bodyPr vert="horz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cap="all" baseline="0"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All Caps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imum.</a:t>
            </a:r>
          </a:p>
        </p:txBody>
      </p:sp>
    </p:spTree>
    <p:extLst>
      <p:ext uri="{BB962C8B-B14F-4D97-AF65-F5344CB8AC3E}">
        <p14:creationId xmlns:p14="http://schemas.microsoft.com/office/powerpoint/2010/main" val="1568052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9EE4F16-695E-4248-98E9-D0E744B1D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71585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44" imgH="344" progId="TCLayout.ActiveDocument.1">
                  <p:embed/>
                </p:oleObj>
              </mc:Choice>
              <mc:Fallback>
                <p:oleObj name="think-cell Folie" r:id="rId23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9EE4F16-695E-4248-98E9-D0E744B1D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"/>
          <p:cNvSpPr>
            <a:spLocks noGrp="1"/>
          </p:cNvSpPr>
          <p:nvPr>
            <p:ph type="body" idx="1"/>
          </p:nvPr>
        </p:nvSpPr>
        <p:spPr>
          <a:xfrm>
            <a:off x="488947" y="1413933"/>
            <a:ext cx="11224684" cy="48947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/>
              <a:t>Forth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Action Title. 26pt. </a:t>
            </a:r>
            <a:r>
              <a:rPr lang="de-DE" noProof="0" dirty="0" err="1"/>
              <a:t>Uppercase</a:t>
            </a:r>
            <a:r>
              <a:rPr lang="de-DE" noProof="0" dirty="0"/>
              <a:t>. </a:t>
            </a:r>
            <a:r>
              <a:rPr lang="de-DE" noProof="0" dirty="0" err="1"/>
              <a:t>Two</a:t>
            </a:r>
            <a:r>
              <a:rPr lang="de-DE" noProof="0" dirty="0"/>
              <a:t> </a:t>
            </a:r>
            <a:r>
              <a:rPr lang="de-DE" noProof="0" dirty="0" err="1"/>
              <a:t>lines</a:t>
            </a:r>
            <a:r>
              <a:rPr lang="de-DE" noProof="0" dirty="0"/>
              <a:t> max.</a:t>
            </a:r>
          </a:p>
        </p:txBody>
      </p:sp>
      <p:cxnSp>
        <p:nvCxnSpPr>
          <p:cNvPr id="9" name="BMW Group Trennlinie">
            <a:extLst>
              <a:ext uri="{FF2B5EF4-FFF2-40B4-BE49-F238E27FC236}">
                <a16:creationId xmlns:a16="http://schemas.microsoft.com/office/drawing/2014/main" id="{BC1828C9-D469-4FB9-A7A2-6539CE4617FD}"/>
              </a:ext>
            </a:extLst>
          </p:cNvPr>
          <p:cNvCxnSpPr/>
          <p:nvPr userDrawn="1"/>
        </p:nvCxnSpPr>
        <p:spPr>
          <a:xfrm>
            <a:off x="-1" y="657226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itenzahlAU1">
            <a:extLst>
              <a:ext uri="{FF2B5EF4-FFF2-40B4-BE49-F238E27FC236}">
                <a16:creationId xmlns:a16="http://schemas.microsoft.com/office/drawing/2014/main" id="{2222059C-550C-4186-A024-687BF66686BC}"/>
              </a:ext>
            </a:extLst>
          </p:cNvPr>
          <p:cNvSpPr/>
          <p:nvPr userDrawn="1"/>
        </p:nvSpPr>
        <p:spPr>
          <a:xfrm>
            <a:off x="11338527" y="6638189"/>
            <a:ext cx="37510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 rtl="0"/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fld id="{13EADCD7-5958-46D5-9257-6B99F6E48D58}" type="slidenum">
              <a:rPr lang="en-GB" sz="1000" noProof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lvl="0" algn="r" rtl="0"/>
              <a:t>‹Nr.›</a:t>
            </a:fld>
            <a:r>
              <a:rPr lang="en-GB" sz="1000" noProof="0">
                <a:solidFill>
                  <a:schemeClr val="tx1">
                    <a:lumMod val="65000"/>
                    <a:lumOff val="35000"/>
                  </a:schemeClr>
                </a:solidFill>
              </a:rPr>
              <a:t> -</a:t>
            </a:r>
          </a:p>
        </p:txBody>
      </p:sp>
      <p:sp>
        <p:nvSpPr>
          <p:cNvPr id="12" name="FußzeileAU1">
            <a:extLst>
              <a:ext uri="{FF2B5EF4-FFF2-40B4-BE49-F238E27FC236}">
                <a16:creationId xmlns:a16="http://schemas.microsoft.com/office/drawing/2014/main" id="{90D422AA-106A-4F31-9838-F8E0F4532E2E}"/>
              </a:ext>
            </a:extLst>
          </p:cNvPr>
          <p:cNvSpPr txBox="1">
            <a:spLocks/>
          </p:cNvSpPr>
          <p:nvPr userDrawn="1"/>
        </p:nvSpPr>
        <p:spPr>
          <a:xfrm>
            <a:off x="488947" y="6638179"/>
            <a:ext cx="1295226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 rtl="0"/>
            <a:r>
              <a:rPr lang="en-GB" noProof="0" dirty="0"/>
              <a:t>ITP | </a:t>
            </a:r>
            <a:r>
              <a:rPr lang="de-DE" noProof="0" dirty="0"/>
              <a:t>06.02.2023</a:t>
            </a:r>
            <a:r>
              <a:rPr lang="en-GB" noProof="0" dirty="0"/>
              <a:t> | Name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4BC3EE49-593E-41B7-8B15-B1E1413B87F3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6642" y="347185"/>
            <a:ext cx="1706989" cy="901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936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0" r:id="rId2"/>
    <p:sldLayoutId id="2147483701" r:id="rId3"/>
    <p:sldLayoutId id="2147483720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6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08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816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724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632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54000" indent="-190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BMW Group Condensed" panose="020B0606020202020204" pitchFamily="34" charset="0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 userDrawn="1">
          <p15:clr>
            <a:srgbClr val="F26B43"/>
          </p15:clr>
        </p15:guide>
        <p15:guide id="7" orient="horz" pos="217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890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4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1D89F924-F5AA-45AD-9E13-8EE7A390AED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BBC6DF-6394-40AB-8157-ED241A45C7B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ITP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24C713B-D95B-445C-964D-646E048A957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Meilenstein x:</a:t>
            </a:r>
            <a:br>
              <a:rPr lang="de-DE" dirty="0"/>
            </a:br>
            <a:r>
              <a:rPr lang="de-DE" dirty="0" err="1"/>
              <a:t>VOrlage</a:t>
            </a:r>
            <a:endParaRPr lang="de-DE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2AC42769-BA4A-4F3B-AE8A-315416F74C1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5311365"/>
            <a:ext cx="12192000" cy="453183"/>
          </a:xfrm>
        </p:spPr>
        <p:txBody>
          <a:bodyPr/>
          <a:lstStyle/>
          <a:p>
            <a:r>
              <a:rPr lang="de-DE" dirty="0"/>
              <a:t>Teilprojekt Onlineverwaltungstool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A73FA72-6115-498C-BA74-6752E8DB4C2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6642" y="347185"/>
            <a:ext cx="1706989" cy="90194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090817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8947" y="1484314"/>
            <a:ext cx="11224684" cy="4824412"/>
          </a:xfrm>
        </p:spPr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1ABB0E-F038-4215-AC82-B1056C4C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Glied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668E98-6FA1-449B-8414-7D78C4870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>
                <a:solidFill>
                  <a:srgbClr val="FFC000"/>
                </a:solidFill>
              </a:rPr>
              <a:t>Punkt 1</a:t>
            </a:r>
            <a:endParaRPr lang="de-DE" dirty="0"/>
          </a:p>
          <a:p>
            <a:r>
              <a:rPr lang="de-DE" dirty="0"/>
              <a:t>Punkt 2</a:t>
            </a:r>
          </a:p>
          <a:p>
            <a:r>
              <a:rPr lang="de-DE" dirty="0"/>
              <a:t>Punkt 3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05391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C0F408-3BF7-EE76-6663-673CA61BA7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/>
              <a:t>Überschrift</a:t>
            </a:r>
          </a:p>
        </p:txBody>
      </p:sp>
    </p:spTree>
    <p:extLst>
      <p:ext uri="{BB962C8B-B14F-4D97-AF65-F5344CB8AC3E}">
        <p14:creationId xmlns:p14="http://schemas.microsoft.com/office/powerpoint/2010/main" val="577610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F6CBD15-8B3A-4A38-A2F6-2D30FEF84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8947" y="1484314"/>
            <a:ext cx="11224684" cy="4824412"/>
          </a:xfrm>
        </p:spPr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1ABB0E-F038-4215-AC82-B1056C4C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>
                <a:solidFill>
                  <a:srgbClr val="408BF3"/>
                </a:solidFill>
              </a:rPr>
              <a:t>Glieder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668E98-6FA1-449B-8414-7D78C4870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unkt 1</a:t>
            </a:r>
          </a:p>
          <a:p>
            <a:r>
              <a:rPr lang="de-DE" dirty="0">
                <a:solidFill>
                  <a:srgbClr val="FFC000"/>
                </a:solidFill>
              </a:rPr>
              <a:t>Punkt 2</a:t>
            </a:r>
          </a:p>
          <a:p>
            <a:r>
              <a:rPr lang="de-DE" dirty="0"/>
              <a:t>Punkt 3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38651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C0F408-3BF7-EE76-6663-673CA61BA7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7" y="347184"/>
            <a:ext cx="11224684" cy="800219"/>
          </a:xfrm>
        </p:spPr>
        <p:txBody>
          <a:bodyPr/>
          <a:lstStyle/>
          <a:p>
            <a:br>
              <a:rPr lang="de-DE" dirty="0"/>
            </a:br>
            <a:r>
              <a:rPr lang="de-DE" dirty="0"/>
              <a:t>Überschrift</a:t>
            </a:r>
          </a:p>
        </p:txBody>
      </p:sp>
    </p:spTree>
    <p:extLst>
      <p:ext uri="{BB962C8B-B14F-4D97-AF65-F5344CB8AC3E}">
        <p14:creationId xmlns:p14="http://schemas.microsoft.com/office/powerpoint/2010/main" val="18564319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MW Group 2021">
  <a:themeElements>
    <a:clrScheme name="BMW Group 21">
      <a:dk1>
        <a:srgbClr val="000000"/>
      </a:dk1>
      <a:lt1>
        <a:srgbClr val="FFFFFF"/>
      </a:lt1>
      <a:dk2>
        <a:srgbClr val="035970"/>
      </a:dk2>
      <a:lt2>
        <a:srgbClr val="92A2BD"/>
      </a:lt2>
      <a:accent1>
        <a:srgbClr val="548D9E"/>
      </a:accent1>
      <a:accent2>
        <a:srgbClr val="85ACB9"/>
      </a:accent2>
      <a:accent3>
        <a:srgbClr val="ABC4CF"/>
      </a:accent3>
      <a:accent4>
        <a:srgbClr val="C8D7E0"/>
      </a:accent4>
      <a:accent5>
        <a:srgbClr val="DEE5EC"/>
      </a:accent5>
      <a:accent6>
        <a:srgbClr val="E8EBF1"/>
      </a:accent6>
      <a:hlink>
        <a:srgbClr val="000000"/>
      </a:hlink>
      <a:folHlink>
        <a:srgbClr val="000000"/>
      </a:folHlink>
    </a:clrScheme>
    <a:fontScheme name="BMW Group 2021">
      <a:majorFont>
        <a:latin typeface="BMWGroupTN Condensed"/>
        <a:ea typeface=""/>
        <a:cs typeface=""/>
      </a:majorFont>
      <a:minorFont>
        <a:latin typeface="BMWGroupTN Condensed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miter lim="800000"/>
        </a:ln>
      </a:spPr>
      <a:bodyPr rtlCol="0" anchor="t" anchorCtr="0"/>
      <a:lstStyle>
        <a:defPPr algn="l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 defTabSz="914400" rtl="0" eaLnBrk="1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>
            <a:schemeClr val="tx2"/>
          </a:buClr>
          <a:buFontTx/>
          <a:buNone/>
          <a:defRPr sz="18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Blue">
      <a:srgbClr val="035970"/>
    </a:custClr>
    <a:custClr name="Night Blue">
      <a:srgbClr val="173B68"/>
    </a:custClr>
    <a:custClr name="Sky Blue">
      <a:srgbClr val="7B9AC0"/>
    </a:custClr>
    <a:custClr name="Turquoise">
      <a:srgbClr val="009A97"/>
    </a:custClr>
    <a:custClr name="Yellow">
      <a:srgbClr val="FAD022"/>
    </a:custClr>
    <a:custClr name="Orange">
      <a:srgbClr val="E96D0C"/>
    </a:custClr>
    <a:custClr name="Purple">
      <a:srgbClr val="8D1E77"/>
    </a:custClr>
    <a:custClr name="Red">
      <a:srgbClr val="AC1640"/>
    </a:custClr>
    <a:custClr name="Cyan">
      <a:srgbClr val="079EDA"/>
    </a:custClr>
    <a:custClr name="Green">
      <a:srgbClr val="508130"/>
    </a:custClr>
    <a:custClr name="Ocean Blue darker">
      <a:srgbClr val="024152"/>
    </a:custClr>
    <a:custClr name="Night Blue darker">
      <a:srgbClr val="133155"/>
    </a:custClr>
    <a:custClr name="Sky Blue darker">
      <a:srgbClr val="5179A9"/>
    </a:custClr>
    <a:custClr name="Turquoise darker">
      <a:srgbClr val="00777A"/>
    </a:custClr>
    <a:custClr name="Yellow darker">
      <a:srgbClr val="D2A000"/>
    </a:custClr>
    <a:custClr name="Orange darker">
      <a:srgbClr val="AF5009"/>
    </a:custClr>
    <a:custClr name="Purple darker">
      <a:srgbClr val="6B175B"/>
    </a:custClr>
    <a:custClr name="Red darker">
      <a:srgbClr val="76102D"/>
    </a:custClr>
    <a:custClr name="Cyan darker">
      <a:srgbClr val="05709B"/>
    </a:custClr>
    <a:custClr name="Green darker">
      <a:srgbClr val="365620"/>
    </a:custClr>
    <a:custClr name="Ocean Blue 30% lighter">
      <a:srgbClr val="4F8B9B"/>
    </a:custClr>
    <a:custClr name="Night Blue 30% lighter">
      <a:srgbClr val="687F9D"/>
    </a:custClr>
    <a:custClr name="Sky Blue 30% lighter">
      <a:srgbClr val="A8BED4"/>
    </a:custClr>
    <a:custClr name="Turquoise 30% lighter">
      <a:srgbClr val="66C2C1"/>
    </a:custClr>
    <a:custClr name="Yellow 30% lighter">
      <a:srgbClr val="FCE37A"/>
    </a:custClr>
    <a:custClr name="Orange 30% lighter">
      <a:srgbClr val="F69954"/>
    </a:custClr>
    <a:custClr name="Purple 30% lighter">
      <a:srgbClr val="BB78AD"/>
    </a:custClr>
    <a:custClr name="Red 30% lighter">
      <a:srgbClr val="CD738C"/>
    </a:custClr>
    <a:custClr name="Cyan 30% lighter">
      <a:srgbClr val="6DCBF1"/>
    </a:custClr>
    <a:custClr name="Green 30% lighter">
      <a:srgbClr val="8BB86D"/>
    </a:custClr>
    <a:custClr name="Ocean Blue 60% lighter">
      <a:srgbClr val="A7C5CD"/>
    </a:custClr>
    <a:custClr name="Night Blue 60% lighter">
      <a:srgbClr val="B9C4D1"/>
    </a:custClr>
    <a:custClr name="Sky Blue 60% lighter">
      <a:srgbClr val="D0DDE8"/>
    </a:custClr>
    <a:custClr name="Turquoise 60% lighter">
      <a:srgbClr val="B2E0E0"/>
    </a:custClr>
    <a:custClr name="Yellow 60% lighter">
      <a:srgbClr val="FDF1BC"/>
    </a:custClr>
    <a:custClr name="Orange 60% lighter">
      <a:srgbClr val="FBCCA9"/>
    </a:custClr>
    <a:custClr name="Purple 60% lighter">
      <a:srgbClr val="DDBBD6"/>
    </a:custClr>
    <a:custClr name="Red 60% lighter">
      <a:srgbClr val="E6B9C5"/>
    </a:custClr>
    <a:custClr name="Cyan 60% lighter">
      <a:srgbClr val="B1E7FD"/>
    </a:custClr>
    <a:custClr name="Green 60% lighter">
      <a:srgbClr val="C9DEBB"/>
    </a:custClr>
  </a:custClrLst>
  <a:extLst>
    <a:ext uri="{05A4C25C-085E-4340-85A3-A5531E510DB2}">
      <thm15:themeFamily xmlns:thm15="http://schemas.microsoft.com/office/thememl/2012/main" name="Präsentation1" id="{A31AAE30-E132-48E3-9367-3949391D52F9}" vid="{EBD5466B-19E5-4A8C-9174-EC6493822E0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</Words>
  <Application>Microsoft Office PowerPoint</Application>
  <PresentationFormat>Breitbild</PresentationFormat>
  <Paragraphs>15</Paragraphs>
  <Slides>5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1" baseType="lpstr">
      <vt:lpstr>Arial</vt:lpstr>
      <vt:lpstr>BMW Group Condensed</vt:lpstr>
      <vt:lpstr>BMWGroupTN Condensed</vt:lpstr>
      <vt:lpstr>Wingdings</vt:lpstr>
      <vt:lpstr>BMW Group 2021</vt:lpstr>
      <vt:lpstr>think-cell Folie</vt:lpstr>
      <vt:lpstr>Meilenstein x: VOrlage</vt:lpstr>
      <vt:lpstr> Gliederung</vt:lpstr>
      <vt:lpstr> Überschrift</vt:lpstr>
      <vt:lpstr> Gliederung</vt:lpstr>
      <vt:lpstr> Überschrif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ylla Frank, TU-65</dc:creator>
  <cp:lastModifiedBy>Frank Sylla</cp:lastModifiedBy>
  <cp:revision>14</cp:revision>
  <dcterms:created xsi:type="dcterms:W3CDTF">2022-12-15T08:02:51Z</dcterms:created>
  <dcterms:modified xsi:type="dcterms:W3CDTF">2023-02-06T10:58:58Z</dcterms:modified>
</cp:coreProperties>
</file>